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66" y="83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  <a:endParaRPr lang="es-E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1/2021</a:t>
            </a:fld>
            <a:endParaRPr lang="es-E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  <a:endParaRPr lang="es-E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Encabezado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1/2021</a:t>
            </a:fld>
            <a:endParaRPr lang="es-E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Pie de página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2698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El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rup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stá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onstituid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o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la union de dos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ólid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arc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: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y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bo</a:t>
            </a:r>
            <a:r>
              <a:rPr lang="es-ES" sz="900" dirty="0">
                <a:solidFill>
                  <a:schemeClr val="bg1"/>
                </a:solidFill>
              </a:rPr>
              <a:t> </a:t>
            </a:r>
            <a:r>
              <a:rPr lang="es-ES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ermex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. Juntos, somos un proveedor líder de equipos y                                                                         </a:t>
            </a:r>
            <a:b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servicios para el envasado de líquidos, alimentos sólidos y productos </a:t>
            </a:r>
            <a:b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para el hogar </a:t>
            </a:r>
            <a:r>
              <a:rPr lang="es-ES" sz="900" b="0" i="0" u="none" strike="noStrike" kern="1200" baseline="0">
                <a:solidFill>
                  <a:schemeClr val="bg1"/>
                </a:solidFill>
                <a:latin typeface="+mn-lt"/>
              </a:rPr>
              <a:t>o el cuidado </a:t>
            </a:r>
            <a:r>
              <a:rPr lang="es-ES" sz="900" b="0" i="0" u="none" strike="noStrike" kern="1200" baseline="0" dirty="0">
                <a:solidFill>
                  <a:schemeClr val="bg1"/>
                </a:solidFill>
                <a:latin typeface="+mn-lt"/>
              </a:rPr>
              <a:t>personal en PET, lata, vidrio y otros materiales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</a:t>
            </a:r>
          </a:p>
          <a:p>
            <a:pPr algn="just">
              <a:spcBef>
                <a:spcPts val="800"/>
              </a:spcBef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Con más de 37 000 máquinas instaladas en más 190 países, contamos con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a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xperiencia probada de casi 170 años y prestamos especial atención a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stem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avanzada, la ingeniería de línea y la innovación. Nuestros más de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5000 empleados distribuidos por todo el mundo sienten una verdadera pasión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o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uministra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soluciones completas que respondan a las necesidades del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lient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impuls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el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desempeñ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sus líneas, productos y negocios. </a:t>
            </a:r>
          </a:p>
          <a:p>
            <a:pPr algn="just">
              <a:spcBef>
                <a:spcPts val="800"/>
              </a:spcBef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Para brindar este nivel de rendimiento, tenemos qu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comprende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constantement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ret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e nuestros clientes y comprometernos a alcanzar sus objetivos específicos. Lo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hacem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mediante el diálogo y el entendimiento de las necesidades de sus mercados,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u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roducció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y sus cadenas de valor, y lo complementamos aplicando nuestro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ólid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onocimient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técnico y análisis de datos inteligentes para contribuir a que la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productivida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alc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todo su potencial con una máxima vida útil.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3619500" y="4547459"/>
            <a:ext cx="5186365" cy="6565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endParaRPr lang="en-CA" dirty="0"/>
          </a:p>
          <a:p>
            <a:pPr algn="l">
              <a:spcBef>
                <a:spcPts val="800"/>
              </a:spcBef>
            </a:pPr>
            <a:r>
              <a:rPr dirty="0"/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A esto lo llamamos </a:t>
            </a:r>
            <a:r>
              <a:rPr lang="en-GB" sz="1000" b="1" i="1" u="none" strike="noStrike" kern="1200" baseline="0" dirty="0">
                <a:solidFill>
                  <a:schemeClr val="bg1"/>
                </a:solidFill>
                <a:latin typeface="+mn-lt"/>
              </a:rPr>
              <a:t>Performance through Understanding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.</a:t>
            </a:r>
            <a:endParaRPr lang="es-ES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46308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</a:rPr>
              <a:t>Título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5 January 2021</a:t>
            </a:fld>
            <a:endParaRPr lang="es-ES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ágina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s-ES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08B669BD-1DD7-4FAD-BF7C-85C581DB1AF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VALOR Y VENTAJA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DESCRIPCIÓN</a:t>
              </a:r>
              <a:endParaRPr kumimoji="0" lang="es-ES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1" y="334800"/>
            <a:ext cx="7778030" cy="461665"/>
          </a:xfrm>
        </p:spPr>
        <p:txBody>
          <a:bodyPr/>
          <a:lstStyle/>
          <a:p>
            <a:r>
              <a:rPr lang="en-US" sz="3200" dirty="0"/>
              <a:t>Reduzca el consumo de agua y vapor de su equipo</a:t>
            </a:r>
            <a:endParaRPr lang="es-ES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3250" y="1458913"/>
            <a:ext cx="7997825" cy="307975"/>
          </a:xfrm>
        </p:spPr>
        <p:txBody>
          <a:bodyPr/>
          <a:lstStyle/>
          <a:p>
            <a:r>
              <a:rPr lang="en-US" b="1" i="1" dirty="0"/>
              <a:t>PR</a:t>
            </a:r>
            <a:r>
              <a:rPr i="1" dirty="0"/>
              <a:t>ediction </a:t>
            </a:r>
            <a:r>
              <a:rPr lang="en-US" b="1" i="1" dirty="0"/>
              <a:t>IN</a:t>
            </a:r>
            <a:r>
              <a:rPr i="1" dirty="0"/>
              <a:t> </a:t>
            </a:r>
            <a:r>
              <a:rPr lang="en-US" b="1" i="1" dirty="0"/>
              <a:t>C</a:t>
            </a:r>
            <a:r>
              <a:rPr i="1" dirty="0"/>
              <a:t>ontrol </a:t>
            </a:r>
            <a:r>
              <a:rPr lang="en-US" b="1" i="1" dirty="0"/>
              <a:t>E</a:t>
            </a:r>
            <a:r>
              <a:rPr i="1" dirty="0"/>
              <a:t>quation</a:t>
            </a:r>
            <a:r>
              <a:rPr dirty="0"/>
              <a:t>. Sistema de control «Plus»</a:t>
            </a:r>
            <a:endParaRPr lang="es-ES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or: Productividad, optimización de </a:t>
            </a:r>
            <a:r>
              <a:rPr lang="en-US" sz="800" kern="0" dirty="0" err="1"/>
              <a:t>costos</a:t>
            </a:r>
            <a:r>
              <a:rPr lang="en-US" sz="800" kern="0" dirty="0"/>
              <a:t>, </a:t>
            </a:r>
            <a:r>
              <a:rPr lang="en-US" sz="800" kern="0" dirty="0" err="1"/>
              <a:t>sostenibilidad</a:t>
            </a:r>
            <a:endParaRPr lang="es-ES" sz="800" kern="0" dirty="0"/>
          </a:p>
          <a:p>
            <a:r>
              <a:rPr lang="en-US" sz="800" kern="0" dirty="0"/>
              <a:t>Equipo: </a:t>
            </a:r>
            <a:r>
              <a:rPr lang="en-US" sz="800" kern="0" dirty="0" err="1"/>
              <a:t>Pasteurizador</a:t>
            </a:r>
            <a:endParaRPr lang="en-US" sz="800" kern="0" dirty="0"/>
          </a:p>
          <a:p>
            <a:r>
              <a:rPr lang="en-US" sz="800" kern="0" dirty="0"/>
              <a:t>Código de catálogo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50" b="1" dirty="0"/>
              <a:t>Mantenimiento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Simplificación de las operaciones del mantenimiento de rutina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Seguridad y ergonomía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Lista de alarmas y mensaje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Operación sencilla de la máquina mediante el panel de control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Contraseña personal con cada función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Productividad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ción de los costos principales de consumo de agua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ción de los costos de consumo de vapor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Flexibilidad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ibilidad de ejecutar un cambio de formato de manera muy rápida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ibilidad de configurar los parámetros funcionales de la máquin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en-US" sz="1000" dirty="0"/>
              <a:t>Control eficiente de la unidad de pasteurización (PU, por sus siglas en inglés).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Eliminación de productos con pasteurización insuficiente.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Mínima acumulación de PU asegurada. o Define y limita la pasteurización excesiva.</a:t>
            </a:r>
            <a:r>
              <a:rPr dirty="0"/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oducción del «efecto letal».</a:t>
            </a:r>
          </a:p>
          <a:p>
            <a:pPr lvl="1">
              <a:buClr>
                <a:schemeClr val="accent4"/>
              </a:buClr>
            </a:pPr>
            <a:endParaRPr lang="es-ES" sz="1000" dirty="0"/>
          </a:p>
          <a:p>
            <a:pPr marL="85725" lvl="1">
              <a:buClr>
                <a:schemeClr val="accent4"/>
              </a:buClr>
            </a:pPr>
            <a:r>
              <a:rPr lang="en-US" sz="1000" dirty="0"/>
              <a:t>Control eficiente de la temperatura de salida del producto.</a:t>
            </a:r>
          </a:p>
          <a:p>
            <a:pPr lvl="1">
              <a:buClr>
                <a:schemeClr val="accent4"/>
              </a:buClr>
            </a:pPr>
            <a:endParaRPr lang="es-ES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Configuración sencilla de la función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ecisión de la configuración de la receta para cada tamaño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dquisición de los datos de producción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Informes claros y detallados.</a:t>
            </a:r>
            <a:endParaRPr lang="es-ES" sz="1000" dirty="0"/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3373" y="4471412"/>
            <a:ext cx="1632357" cy="1219832"/>
          </a:xfrm>
          <a:prstGeom prst="rect">
            <a:avLst/>
          </a:prstGeom>
        </p:spPr>
      </p:pic>
      <p:pic>
        <p:nvPicPr>
          <p:cNvPr id="15" name="Image 9">
            <a:extLst>
              <a:ext uri="{FF2B5EF4-FFF2-40B4-BE49-F238E27FC236}">
                <a16:creationId xmlns:a16="http://schemas.microsoft.com/office/drawing/2014/main" id="{E25B30FC-F522-4FC9-A168-BC3E3857AA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1200" y="3175"/>
            <a:ext cx="812800" cy="81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034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1</TotalTime>
  <Words>206</Words>
  <Application>Microsoft Office PowerPoint</Application>
  <PresentationFormat>On-screen Show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1_NewGeboCermex_Template_4x3_v10_FINAL</vt:lpstr>
      <vt:lpstr>think-cell Folie</vt:lpstr>
      <vt:lpstr>Reduzca el consumo de agua y vapor de su equipo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7-05-19T07:45:48Z</cp:lastPrinted>
  <dcterms:created xsi:type="dcterms:W3CDTF">2018-01-25T16:00:18Z</dcterms:created>
  <dcterms:modified xsi:type="dcterms:W3CDTF">2021-01-05T09:2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6:47.6685276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